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2"/>
  </p:notesMasterIdLst>
  <p:sldIdLst>
    <p:sldId id="285" r:id="rId5"/>
    <p:sldId id="288" r:id="rId6"/>
    <p:sldId id="284" r:id="rId7"/>
    <p:sldId id="282" r:id="rId8"/>
    <p:sldId id="256" r:id="rId9"/>
    <p:sldId id="289" r:id="rId10"/>
    <p:sldId id="29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187588-863E-452C-87F2-3337AF5E09EE}" v="12" dt="2022-03-21T15:14:11.9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 stil 2 – uthev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EC20E35-A176-4012-BC5E-935CFFF8708E}" styleName="Middels sti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Lys stil 3 – utheving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ys stil 1 – uthev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ys sti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7240" autoAdjust="0"/>
  </p:normalViewPr>
  <p:slideViewPr>
    <p:cSldViewPr snapToGrid="0">
      <p:cViewPr varScale="1">
        <p:scale>
          <a:sx n="126" d="100"/>
          <a:sy n="126" d="100"/>
        </p:scale>
        <p:origin x="80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28A03-D67E-40F0-A587-75E98A39B7E0}" type="datetimeFigureOut">
              <a:t>29.03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1000E9-A730-417B-AE1B-06ACBFEA2B4F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30167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000E9-A730-417B-AE1B-06ACBFEA2B4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875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246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716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000E9-A730-417B-AE1B-06ACBFEA2B4F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5883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000E9-A730-417B-AE1B-06ACBFEA2B4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91377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000E9-A730-417B-AE1B-06ACBFEA2B4F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4844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15.png"/><Relationship Id="rId4" Type="http://schemas.openxmlformats.org/officeDocument/2006/relationships/image" Target="../media/image6.svg"/><Relationship Id="rId9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6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4119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74227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687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3672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90997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2465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8725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70145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30444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1198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2784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2167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873468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75251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84555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191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98763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8264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2909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4BA91-0B53-4A70-9617-B2C39374728A}" type="datetimeFigureOut">
              <a:rPr lang="en-US" smtClean="0"/>
              <a:t>3/29/2022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8B2969-8008-4A25-B304-0A717B87FC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5530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14780457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0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9232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8538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8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0822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24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54928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4309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49465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6968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33" imgW="339" imgH="343" progId="TCLayout.ActiveDocument.1">
                  <p:embed/>
                </p:oleObj>
              </mc:Choice>
              <mc:Fallback>
                <p:oleObj name="think-cell Slide" r:id="rId33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xmlns="" r:embed="rId36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832946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2.png"/><Relationship Id="rId5" Type="http://schemas.openxmlformats.org/officeDocument/2006/relationships/image" Target="../media/image30.sv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7BEB34-BF47-47BB-8B35-A21F868F7B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6112" y="381855"/>
            <a:ext cx="1202845" cy="318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69AC09-2576-4FCC-A8E6-2B5767CC4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05793"/>
            <a:ext cx="3568650" cy="1667724"/>
          </a:xfrm>
        </p:spPr>
        <p:txBody>
          <a:bodyPr/>
          <a:lstStyle/>
          <a:p>
            <a:r>
              <a:rPr lang="nb-NO" sz="2800" b="1" dirty="0"/>
              <a:t>Arbeid med kunnskapsgrunnlag og involvering av studenter ved HF</a:t>
            </a:r>
            <a:endParaRPr lang="en-US" sz="2800" b="1" dirty="0">
              <a:latin typeface="Gill Sans Ultra Bold" panose="020B0A02020104020203" pitchFamily="34" charset="77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C03838C-DDE2-4698-9970-D6A16289A4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11E9A3-CEF4-4AB6-BAA7-AAC9101C8C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Seksjonsleder</a:t>
            </a:r>
            <a:r>
              <a:rPr lang="en-US" dirty="0"/>
              <a:t> for studier Julianne Krohn-Hans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B37F67-443C-40E9-9FE7-4E65332FA1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et </a:t>
            </a:r>
            <a:r>
              <a:rPr lang="en-US" dirty="0" err="1"/>
              <a:t>humanistiske</a:t>
            </a:r>
            <a:r>
              <a:rPr lang="en-US" dirty="0"/>
              <a:t> </a:t>
            </a:r>
            <a:r>
              <a:rPr lang="en-US" dirty="0" err="1"/>
              <a:t>fakultet</a:t>
            </a:r>
            <a:r>
              <a:rPr lang="en-US" dirty="0"/>
              <a:t>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271C1F9-245E-498A-BEED-0313909719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err="1"/>
              <a:t>Utdanningskomiteen</a:t>
            </a:r>
            <a:r>
              <a:rPr lang="en-US" dirty="0"/>
              <a:t>, seminar 22-23. mars 2022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130" y="1608565"/>
            <a:ext cx="7855919" cy="336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715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4937C616-7F14-4540-B2DA-DE73D8CCFE9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42950" y="1285875"/>
            <a:ext cx="9467847" cy="439930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>
                <a:solidFill>
                  <a:schemeClr val="tx1"/>
                </a:solidFill>
              </a:rPr>
              <a:t>18 bachelorprogram</a:t>
            </a:r>
            <a:br>
              <a:rPr lang="nb-NO" sz="2800" dirty="0">
                <a:solidFill>
                  <a:schemeClr val="tx1"/>
                </a:solidFill>
              </a:rPr>
            </a:br>
            <a:r>
              <a:rPr lang="nb-NO" sz="2800" dirty="0">
                <a:solidFill>
                  <a:schemeClr val="tx1"/>
                </a:solidFill>
              </a:rPr>
              <a:t>(+ studieretning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>
                <a:solidFill>
                  <a:schemeClr val="tx1"/>
                </a:solidFill>
              </a:rPr>
              <a:t>17 årsenheter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>
                <a:solidFill>
                  <a:schemeClr val="tx1"/>
                </a:solidFill>
              </a:rPr>
              <a:t>26 masterprogra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>
                <a:solidFill>
                  <a:schemeClr val="tx1"/>
                </a:solidFill>
              </a:rPr>
              <a:t> +/- 600 emner </a:t>
            </a:r>
            <a:br>
              <a:rPr lang="nb-NO" sz="2800" dirty="0">
                <a:solidFill>
                  <a:schemeClr val="tx1"/>
                </a:solidFill>
              </a:rPr>
            </a:br>
            <a:r>
              <a:rPr lang="nb-NO" sz="2800" dirty="0">
                <a:solidFill>
                  <a:schemeClr val="tx1"/>
                </a:solidFill>
              </a:rPr>
              <a:t>per semester </a:t>
            </a:r>
            <a:br>
              <a:rPr lang="nb-NO" sz="2800" dirty="0">
                <a:solidFill>
                  <a:schemeClr val="tx1"/>
                </a:solidFill>
              </a:rPr>
            </a:br>
            <a:r>
              <a:rPr lang="nb-NO" sz="2800" dirty="0">
                <a:solidFill>
                  <a:schemeClr val="tx1"/>
                </a:solidFill>
              </a:rPr>
              <a:t>(varierer no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400" dirty="0">
              <a:solidFill>
                <a:schemeClr val="tx1"/>
              </a:solidFill>
            </a:endParaRPr>
          </a:p>
          <a:p>
            <a:endParaRPr lang="nb-NO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C1B62C62-F940-417A-8E2C-C6D17D880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dirty="0"/>
              <a:t>Det humanistiske fakultet</a:t>
            </a:r>
          </a:p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69ABC1A-6443-44C2-9E38-C59CCC4D9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200A8C47-A433-45D1-8040-04521AF1E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950" y="371743"/>
            <a:ext cx="11241404" cy="542658"/>
          </a:xfrm>
        </p:spPr>
        <p:txBody>
          <a:bodyPr/>
          <a:lstStyle/>
          <a:p>
            <a:r>
              <a:rPr lang="nb-NO" b="1" dirty="0"/>
              <a:t>Omhandler data om og fra HF-studenter på </a:t>
            </a:r>
            <a:br>
              <a:rPr lang="nb-NO" b="1" dirty="0"/>
            </a:br>
            <a:r>
              <a:rPr lang="nb-NO" b="1" dirty="0"/>
              <a:t>  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8111763-B8E9-4FEC-A0DB-2C1765D3D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4425" y="1405811"/>
            <a:ext cx="6524625" cy="279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41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2B26D4B-AD4A-46E3-9EA1-D55C31930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Det humanistiske fakultet</a:t>
            </a:r>
          </a:p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F2D1B21D-E7EE-4A4F-8E34-82E1A5262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AD64A4FE-4796-4BC4-AF04-B002361242E6}"/>
              </a:ext>
            </a:extLst>
          </p:cNvPr>
          <p:cNvSpPr txBox="1"/>
          <p:nvPr/>
        </p:nvSpPr>
        <p:spPr>
          <a:xfrm>
            <a:off x="461962" y="752475"/>
            <a:ext cx="709634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På fakultetsnivå følger vi nøye med på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Gjennomføring og studiepoeng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Opptak- og søkert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Eksamenst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Mobilitetsta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Egne undersøkelser, for eksempel  studentpane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Kandidatundersøkelsen med </a:t>
            </a:r>
            <a:r>
              <a:rPr lang="nb-NO" sz="2400" dirty="0" err="1"/>
              <a:t>tilleggsanalyser</a:t>
            </a:r>
            <a:endParaRPr lang="nb-NO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Nasjonale undersøkelser som Studiebarometeret og SHOT (til en viss grad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Digital emneevaluering? </a:t>
            </a:r>
          </a:p>
        </p:txBody>
      </p:sp>
      <p:pic>
        <p:nvPicPr>
          <p:cNvPr id="5" name="slide2" descr="Studier">
            <a:extLst>
              <a:ext uri="{FF2B5EF4-FFF2-40B4-BE49-F238E27FC236}">
                <a16:creationId xmlns:a16="http://schemas.microsoft.com/office/drawing/2014/main" id="{EE55A51C-71C3-4AB1-AE42-E15F377EEF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888" y="3001023"/>
            <a:ext cx="4376737" cy="3501390"/>
          </a:xfrm>
          <a:prstGeom prst="rect">
            <a:avLst/>
          </a:prstGeom>
        </p:spPr>
      </p:pic>
      <p:sp>
        <p:nvSpPr>
          <p:cNvPr id="6" name="AutoShape 2" descr="Tableau logo">
            <a:extLst>
              <a:ext uri="{FF2B5EF4-FFF2-40B4-BE49-F238E27FC236}">
                <a16:creationId xmlns:a16="http://schemas.microsoft.com/office/drawing/2014/main" id="{ED8E6019-C142-4496-975B-15A93F9B4C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91200" y="3124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7" name="AutoShape 4" descr="Tableau logo">
            <a:extLst>
              <a:ext uri="{FF2B5EF4-FFF2-40B4-BE49-F238E27FC236}">
                <a16:creationId xmlns:a16="http://schemas.microsoft.com/office/drawing/2014/main" id="{B2C4B757-651C-4A9C-A7C5-E1E79747B26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305534"/>
            <a:ext cx="3743325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0586B92E-B1DF-4445-9762-4CB7A551CE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177799" y="1462607"/>
            <a:ext cx="3388302" cy="991970"/>
          </a:xfrm>
          <a:prstGeom prst="rect">
            <a:avLst/>
          </a:prstGeom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C22CF012-4CEE-4B07-B911-CBCA22716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18" y="4964719"/>
            <a:ext cx="1082341" cy="1298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28968AFE-D3F8-47B8-B50C-FAFA0B4755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71900" y="5265115"/>
            <a:ext cx="2743200" cy="7715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70256" y="649464"/>
            <a:ext cx="2070444" cy="919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01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8EE79D-1ECB-4EA2-9B12-1FFF72876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Det humanistiske fakult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E9E5A1-2DE6-4440-9E20-A406E6947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7A6C2337-FED5-473C-BE51-CBAB1CB63375}"/>
              </a:ext>
            </a:extLst>
          </p:cNvPr>
          <p:cNvSpPr txBox="1"/>
          <p:nvPr/>
        </p:nvSpPr>
        <p:spPr>
          <a:xfrm>
            <a:off x="535258" y="535259"/>
            <a:ext cx="10917043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 err="1"/>
              <a:t>Tableau</a:t>
            </a:r>
            <a:r>
              <a:rPr lang="nb-NO" sz="2000" dirty="0"/>
              <a:t> -til stor nytte for vårt arbeid med kunnskapsgrunnlaget – ber om fortsatt støtte til å sette opp mer avanserte rapport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b-NO" sz="2000" dirty="0"/>
              <a:t>Eksempelvis mer detaljerte søker- og opptakstall for simulering av konsekvenser ved for eksempel nye opptakskrav eller endret ramme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b-NO" sz="2000" dirty="0"/>
              <a:t>Mer krevende og etisk problematisk: Frafallsdata og analyser av mangfold i tilknytning til HFs handlingsplan for likestilling og mangfold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r>
              <a:rPr lang="nb-NO" sz="2000" b="1" dirty="0"/>
              <a:t>Canvas</a:t>
            </a:r>
            <a:r>
              <a:rPr lang="nb-NO" sz="2000" dirty="0"/>
              <a:t> – </a:t>
            </a:r>
            <a:r>
              <a:rPr lang="nb-NO" sz="2000" dirty="0" err="1"/>
              <a:t>uunyttet</a:t>
            </a:r>
            <a:r>
              <a:rPr lang="nb-NO" sz="2000" dirty="0"/>
              <a:t> potensial for analyse som kan benyttes mer aktivt? Her trenger vi mer kunnskap. </a:t>
            </a:r>
          </a:p>
          <a:p>
            <a:endParaRPr lang="nb-NO" sz="2000" dirty="0"/>
          </a:p>
          <a:p>
            <a:r>
              <a:rPr lang="nb-NO" sz="2000" b="1" dirty="0"/>
              <a:t>Og kanskje litt på siden, men også viktig: Kobling av økonomi- og studiedata</a:t>
            </a:r>
          </a:p>
          <a:p>
            <a:r>
              <a:rPr lang="nb-NO" sz="2000" dirty="0"/>
              <a:t>Behov for bedre verktøy for å istandsette ledere til å vurdere/simulere økonomiske konsekvenser av utdanningspolitiske prioriteringer og rekruttering basert på gode data og analyser. </a:t>
            </a:r>
          </a:p>
          <a:p>
            <a:r>
              <a:rPr lang="nb-NO" sz="2000" dirty="0"/>
              <a:t>Foreløpige tiltak på HF: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Opplæring av nye institutt- og undervisningsledere i fordelingsmodel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Opplæring i mekanismene rundt - og enighet om prinsipper for fastsetting av opptaksrammene – basert på kunnskap, ikke følelser</a:t>
            </a:r>
            <a:r>
              <a:rPr lang="nb-NO" dirty="0">
                <a:sym typeface="Wingdings" panose="05000000000000000000" pitchFamily="2" charset="2"/>
              </a:rPr>
              <a:t>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>
                <a:sym typeface="Wingdings" panose="05000000000000000000" pitchFamily="2" charset="2"/>
              </a:rPr>
              <a:t>Prosjekt ressursplanlegging for fremtiden – god forvaltning av undervisningsressurser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400" dirty="0"/>
          </a:p>
        </p:txBody>
      </p:sp>
    </p:spTree>
    <p:extLst>
      <p:ext uri="{BB962C8B-B14F-4D97-AF65-F5344CB8AC3E}">
        <p14:creationId xmlns:p14="http://schemas.microsoft.com/office/powerpoint/2010/main" val="2338128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2925" y="104469"/>
            <a:ext cx="11334750" cy="848032"/>
          </a:xfrm>
        </p:spPr>
        <p:txBody>
          <a:bodyPr>
            <a:normAutofit/>
          </a:bodyPr>
          <a:lstStyle/>
          <a:p>
            <a:pPr algn="l"/>
            <a:r>
              <a:rPr lang="nb-NO" sz="2800" b="1" dirty="0">
                <a:latin typeface="Arial" panose="020B0604020202020204" pitchFamily="34" charset="0"/>
                <a:cs typeface="Arial" panose="020B0604020202020204" pitchFamily="34" charset="0"/>
              </a:rPr>
              <a:t>Hvordan kommuniseres resultater tilbake til ansatte og studenter?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2925" y="1247775"/>
            <a:ext cx="10439814" cy="5305426"/>
          </a:xfrm>
        </p:spPr>
        <p:txBody>
          <a:bodyPr>
            <a:normAutofit fontScale="92500" lnSpcReduction="20000"/>
          </a:bodyPr>
          <a:lstStyle/>
          <a:p>
            <a:pPr marL="457200" indent="-457200" algn="l" fontAlgn="base">
              <a:buFont typeface="+mj-lt"/>
              <a:buAutoNum type="arabicPeriod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Ansatte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møtene for instituttenes undervisningsledere og studieledere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Studierådsmøter (årlige – med studenter)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ev. fakultetsarrangementer for instituttenes ansatte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Oppfølging av rapporter fra eksterne evalueringspanel i periodiske emneevalueringer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årlig rapportering om studiekvalitetsarbeidet 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 fontAlgn="base">
              <a:buFont typeface="+mj-lt"/>
              <a:buAutoNum type="arabicPeriod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Studenter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tilgjengeliggjøring av emnerapporter på instituttnivå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læringsassistenter har blitt viktige endringsagenter – bindeledd mellom underviser og studentene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kampanjer om å benytte bestemte tilbud f.eks. knyttet til arbeidsliv, utreise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faste møter med HFSU og studentrepresentanter i styret</a:t>
            </a:r>
          </a:p>
          <a:p>
            <a:pPr marL="914400" lvl="1" indent="-457200" algn="l" fontAlgn="base">
              <a:buFont typeface="+mj-lt"/>
              <a:buAutoNum type="alphaLcPeriod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indirekte – kunnskapsbaserte tiltak (årsplan og strategiske planer) på områder vi har behov for å løfte utdanningene våre basert på data og tilbakemeldinger fra studentene.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3475" y="6272761"/>
            <a:ext cx="1566808" cy="28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8368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0F603E2F-9481-4838-A7AA-F2F79F5DA2A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1651740" y="993914"/>
            <a:ext cx="9884731" cy="364071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Vi vet vi at vi, på tross av mange års arbeid med </a:t>
            </a:r>
            <a:r>
              <a:rPr lang="nb-NO" sz="2000" dirty="0" err="1"/>
              <a:t>arbeidsrelevans</a:t>
            </a:r>
            <a:r>
              <a:rPr lang="nb-NO" sz="2000" dirty="0"/>
              <a:t>, har en vei å gå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Tidsserier gir sammenlignbare data – følger utviklingen over ti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Egne analyser av resultatene – brutt ned på programnivå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Grunnlag for målrettede tiltak i fakultetets årspl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Karrieresider på nett - karriereintervju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Jobbklar @ HF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Flere praksisem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Case-konkurranser</a:t>
            </a:r>
          </a:p>
          <a:p>
            <a:endParaRPr lang="nb-NO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1A58AAB-A38D-4364-8AA6-1BBEC150E5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2A672A7-97A1-4C86-8FA4-E2FFF3920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9419DAF0-37B7-402B-A126-BAA3E12FE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400" dirty="0"/>
              <a:t>HF ønsker at Kandidatundersøkelsen videreføres, fordi:</a:t>
            </a:r>
          </a:p>
        </p:txBody>
      </p:sp>
      <p:pic>
        <p:nvPicPr>
          <p:cNvPr id="21508" name="Picture 4" descr="Smilende dame, ART i bokstaver og datategn. Collage. Illustrasjon.">
            <a:extLst>
              <a:ext uri="{FF2B5EF4-FFF2-40B4-BE49-F238E27FC236}">
                <a16:creationId xmlns:a16="http://schemas.microsoft.com/office/drawing/2014/main" id="{763C174E-500A-4744-BB7F-D9D80CE4B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740" y="4634630"/>
            <a:ext cx="923925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8709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>
          <a:xfrm>
            <a:off x="457199" y="1446215"/>
            <a:ext cx="10972801" cy="4943433"/>
          </a:xfrm>
        </p:spPr>
        <p:txBody>
          <a:bodyPr/>
          <a:lstStyle/>
          <a:p>
            <a:pPr marL="0" indent="0"/>
            <a:r>
              <a:rPr lang="nb-NO" sz="1800" dirty="0"/>
              <a:t>Tillit </a:t>
            </a:r>
            <a:r>
              <a:rPr lang="nb-NO" sz="1800" dirty="0" err="1"/>
              <a:t>vs</a:t>
            </a:r>
            <a:r>
              <a:rPr lang="nb-NO" sz="1800" dirty="0"/>
              <a:t> kontroll/tilsyn:</a:t>
            </a:r>
          </a:p>
          <a:p>
            <a:pPr marL="0" indent="0"/>
            <a:r>
              <a:rPr lang="nb-NO" sz="1800" dirty="0"/>
              <a:t>Kvalitetssystem og rammer er på plass, men vi skulle alltid gjerne hatt bedre innsyn i og ressurser til å se mer systematisk inn i hvordan dette konkret fungerer i praksis.</a:t>
            </a:r>
          </a:p>
          <a:p>
            <a:pPr marL="0" indent="0"/>
            <a:r>
              <a:rPr lang="nb-NO" sz="1800" dirty="0"/>
              <a:t>Vi presenterer tall og analyser og inviterer til dialog, snakker om tiltak – vi vet mindre om hvordan disse samtalene tas videre på instituttene. </a:t>
            </a:r>
          </a:p>
          <a:p>
            <a:pPr marL="0" indent="0"/>
            <a:r>
              <a:rPr lang="nb-NO" sz="1800" dirty="0"/>
              <a:t>Vi lurer jo noen ganger på hvor åpne og ærlige rapporter vi får. Har vi klima for også å snakke om det som ikke fungerer godt nok?</a:t>
            </a:r>
          </a:p>
          <a:p>
            <a:pPr marL="0" indent="0"/>
            <a:r>
              <a:rPr lang="nb-NO" sz="1800" dirty="0"/>
              <a:t>Vi jobber mye med de periodiske programevalueringene, stiller spørsmål og får tilbakemeldinger, men hvilken verdi har disse øvelsene i det daglige kvalitetsarbeidet i programmene? </a:t>
            </a:r>
          </a:p>
          <a:p>
            <a:pPr marL="0" indent="0"/>
            <a:r>
              <a:rPr lang="nb-NO" sz="1800" dirty="0"/>
              <a:t>Kvalitetsarbeid og utvikling tar tid – ledere kommer og går. </a:t>
            </a:r>
          </a:p>
          <a:p>
            <a:pPr marL="0" indent="0"/>
            <a:r>
              <a:rPr lang="nb-NO" sz="1800" dirty="0"/>
              <a:t>Studentstemmene er ikke entydige – hvem lytter vi til på nivå 2 og hvor representative er d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888892"/>
          </a:xfrm>
        </p:spPr>
        <p:txBody>
          <a:bodyPr/>
          <a:lstStyle/>
          <a:p>
            <a:pPr marL="0" indent="0"/>
            <a:r>
              <a:rPr lang="nb-NO" sz="3200" dirty="0"/>
              <a:t>Fakultetsperspektivet og informasjonen på nivå 2 - noen dilemma og tanker vi gjør oss: </a:t>
            </a: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50D0748D-3549-4CB4-9555-A29B894650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7776" y="6263528"/>
            <a:ext cx="1566808" cy="28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74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EF1AA1B9-BC1F-45E4-9908-70FA5603ED5D}" vid="{0B1EB24D-9A29-4936-B027-FCD997E1BD87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00FF4147BB91B439D56382B508211E3" ma:contentTypeVersion="4" ma:contentTypeDescription="Opprett et nytt dokument." ma:contentTypeScope="" ma:versionID="b31f36dbaab815e039fa88daa997ba9b">
  <xsd:schema xmlns:xsd="http://www.w3.org/2001/XMLSchema" xmlns:xs="http://www.w3.org/2001/XMLSchema" xmlns:p="http://schemas.microsoft.com/office/2006/metadata/properties" xmlns:ns2="a70abc90-856b-4cbc-8b03-8789341aae9b" targetNamespace="http://schemas.microsoft.com/office/2006/metadata/properties" ma:root="true" ma:fieldsID="7f89f56fc4392487029e6582264b1133" ns2:_="">
    <xsd:import namespace="a70abc90-856b-4cbc-8b03-8789341aae9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abc90-856b-4cbc-8b03-8789341aae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6499B93-E206-4680-A79B-C9371BE80618}">
  <ds:schemaRefs>
    <ds:schemaRef ds:uri="a70abc90-856b-4cbc-8b03-8789341aae9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C2E7EC8-F21A-42BE-AC31-0DAB875917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80D408-7D48-400C-B2A8-FAE294AB8903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70abc90-856b-4cbc-8b03-8789341aae9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7</TotalTime>
  <Words>619</Words>
  <Application>Microsoft Office PowerPoint</Application>
  <PresentationFormat>Widescreen</PresentationFormat>
  <Paragraphs>75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, sans-serif</vt:lpstr>
      <vt:lpstr>Calibri</vt:lpstr>
      <vt:lpstr>Gill Sans Ultra Bold</vt:lpstr>
      <vt:lpstr>Wingdings</vt:lpstr>
      <vt:lpstr>Office-tema</vt:lpstr>
      <vt:lpstr>think-cell Slide</vt:lpstr>
      <vt:lpstr>Arbeid med kunnskapsgrunnlag og involvering av studenter ved HF</vt:lpstr>
      <vt:lpstr>Omhandler data om og fra HF-studenter på    </vt:lpstr>
      <vt:lpstr>PowerPoint Presentation</vt:lpstr>
      <vt:lpstr>PowerPoint Presentation</vt:lpstr>
      <vt:lpstr>Hvordan kommuniseres resultater tilbake til ansatte og studenter?</vt:lpstr>
      <vt:lpstr>HF ønsker at Kandidatundersøkelsen videreføres, fordi:</vt:lpstr>
      <vt:lpstr>Fakultetsperspektivet og informasjonen på nivå 2 - noen dilemma og tanker vi gjør oss: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ST1 Bachelorprogrammer HF</dc:title>
  <dc:creator>Christine Klem</dc:creator>
  <cp:lastModifiedBy>Kirsti Margrethe Mortensen</cp:lastModifiedBy>
  <cp:revision>26</cp:revision>
  <dcterms:created xsi:type="dcterms:W3CDTF">2022-02-21T14:34:03Z</dcterms:created>
  <dcterms:modified xsi:type="dcterms:W3CDTF">2022-03-29T12:0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0FF4147BB91B439D56382B508211E3</vt:lpwstr>
  </property>
</Properties>
</file>